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927" r:id="rId2"/>
    <p:sldId id="920" r:id="rId3"/>
    <p:sldId id="921" r:id="rId4"/>
    <p:sldId id="922" r:id="rId5"/>
    <p:sldId id="926" r:id="rId6"/>
    <p:sldId id="923" r:id="rId7"/>
    <p:sldId id="924" r:id="rId8"/>
    <p:sldId id="925" r:id="rId9"/>
  </p:sldIdLst>
  <p:sldSz cx="12192000" cy="6858000"/>
  <p:notesSz cx="6858000" cy="9144000"/>
  <p:custDataLst>
    <p:tags r:id="rId12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454" userDrawn="1">
          <p15:clr>
            <a:srgbClr val="A4A3A4"/>
          </p15:clr>
        </p15:guide>
        <p15:guide id="4" orient="horz" pos="3543" userDrawn="1">
          <p15:clr>
            <a:srgbClr val="A4A3A4"/>
          </p15:clr>
        </p15:guide>
        <p15:guide id="5" pos="3863" userDrawn="1">
          <p15:clr>
            <a:srgbClr val="A4A3A4"/>
          </p15:clr>
        </p15:guide>
        <p15:guide id="6" pos="40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EB00"/>
    <a:srgbClr val="364D6E"/>
    <a:srgbClr val="4C6C9C"/>
    <a:srgbClr val="818080"/>
    <a:srgbClr val="007770"/>
    <a:srgbClr val="5E10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44" autoAdjust="0"/>
    <p:restoredTop sz="94554"/>
  </p:normalViewPr>
  <p:slideViewPr>
    <p:cSldViewPr snapToGrid="0" snapToObjects="1">
      <p:cViewPr varScale="1">
        <p:scale>
          <a:sx n="108" d="100"/>
          <a:sy n="108" d="100"/>
        </p:scale>
        <p:origin x="1048" y="184"/>
      </p:cViewPr>
      <p:guideLst>
        <p:guide orient="horz" pos="4065"/>
        <p:guide pos="3454"/>
        <p:guide orient="horz" pos="3543"/>
        <p:guide pos="3863"/>
        <p:guide pos="4089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54" d="100"/>
          <a:sy n="54" d="100"/>
        </p:scale>
        <p:origin x="2376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E938AD5-0874-CE44-B59B-2788028839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FB8C08F-E6EA-C944-8C3C-CD7FDBE4BC5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1636C08-FCEC-5E4C-8ACF-73CD2EDA8EBF}" type="datetimeFigureOut">
              <a:rPr lang="ru-RU"/>
              <a:pPr>
                <a:defRPr/>
              </a:pPr>
              <a:t>15.09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6569879-08A9-2E4C-81DD-7E539A9CA8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7D7B65B-7CEC-4544-9A72-43DF242BBB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83F26C7-765C-C642-9C1C-8F257E2199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A8722FF-034E-DA44-8041-1727C65D7F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01F8BD0-D48E-134D-8F37-709B6ABEFF8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B2AA29E-2142-8C41-8C05-46C8A80BFFAE}" type="datetimeFigureOut">
              <a:rPr lang="ru-RU"/>
              <a:pPr>
                <a:defRPr/>
              </a:pPr>
              <a:t>15.09.2020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0BB24D13-52CB-5E42-9AEA-995232094EB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0F6FC7D2-13F5-B446-BD23-756DDBB6DD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9A65BAF-520F-534F-AF26-83D82565B3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9516BF-4EEC-7244-8C22-495FA84201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41B5423-86C3-8E4F-B8ED-9F387F40FD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фотоизображением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8F17F8BD-0279-7E45-9665-45723F3778A0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AB85EF64-C3AA-3746-A0CE-3D789A62BC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029323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сновной слайд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2001" y="2282824"/>
            <a:ext cx="4951414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67291" y="478121"/>
            <a:ext cx="7228947" cy="1218795"/>
          </a:xfrm>
        </p:spPr>
        <p:txBody>
          <a:bodyPr/>
          <a:lstStyle>
            <a:lvl1pPr>
              <a:defRPr sz="4400" b="0" i="0" cap="none" baseline="0">
                <a:latin typeface="Century Gothic" panose="020B0502020202020204" pitchFamily="34" charset="0"/>
              </a:defRPr>
            </a:lvl1pPr>
          </a:lstStyle>
          <a:p>
            <a:r>
              <a:rPr lang="ru-RU" dirty="0"/>
              <a:t>Основной </a:t>
            </a:r>
            <a:br>
              <a:rPr lang="ru-RU" dirty="0"/>
            </a:br>
            <a:r>
              <a:rPr lang="ru-RU" dirty="0"/>
              <a:t>слайд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0"/>
            <a:ext cx="381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274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5E188CF3-8C80-6943-ABA9-80FCA08702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37CEC83-B83F-3641-BBF6-33D9F35155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58D6788-F838-B649-9C06-8A2648D9C2E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3832C30-52DC-674E-9EC5-E151947698D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28960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5F7C8FB1-35F1-4244-9FCD-8645A82282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5" y="2282823"/>
            <a:ext cx="5337176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B094A48B-379B-F145-B5A8-C428FB533D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66763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E7F8A8D0-A930-F24D-B620-9C5257B6630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55F4F66-A28E-9340-AFEA-489F557EF9F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22317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>
            <a:extLst>
              <a:ext uri="{FF2B5EF4-FFF2-40B4-BE49-F238E27FC236}">
                <a16:creationId xmlns:a16="http://schemas.microsoft.com/office/drawing/2014/main" id="{A29A2277-C3B8-3F49-9BB8-7188F3F49F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5" y="2282823"/>
            <a:ext cx="5337176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2238" y="2282823"/>
            <a:ext cx="5337176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id="{AFC7BDEF-C21B-8448-8E4E-443197EDC4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66763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E155F589-DBAC-B64C-B56B-D80E5132869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6AE8656-EDC5-3146-AC5A-18E8EC5DFBD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76820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и серое зониров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>
            <a:extLst>
              <a:ext uri="{FF2B5EF4-FFF2-40B4-BE49-F238E27FC236}">
                <a16:creationId xmlns:a16="http://schemas.microsoft.com/office/drawing/2014/main" id="{371699EE-43E5-3D43-84FE-9F1193CA8BAB}"/>
              </a:ext>
            </a:extLst>
          </p:cNvPr>
          <p:cNvSpPr/>
          <p:nvPr userDrawn="1"/>
        </p:nvSpPr>
        <p:spPr>
          <a:xfrm>
            <a:off x="6292850" y="0"/>
            <a:ext cx="5899150" cy="6858000"/>
          </a:xfrm>
          <a:prstGeom prst="rect">
            <a:avLst/>
          </a:prstGeom>
          <a:solidFill>
            <a:srgbClr val="D1D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128FA249-B278-2843-893F-87646855A1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2001" y="2282824"/>
            <a:ext cx="4951414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6854825" y="2282824"/>
            <a:ext cx="494823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B8A6D4BC-524B-EC4C-99E7-B88B758BA6A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62000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6E338AD-98D3-CD46-880F-1CC34C0A0A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1F082B3-6FF6-1B4C-9C48-831C24E406F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3952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>
            <a:extLst>
              <a:ext uri="{FF2B5EF4-FFF2-40B4-BE49-F238E27FC236}">
                <a16:creationId xmlns:a16="http://schemas.microsoft.com/office/drawing/2014/main" id="{B394B5AE-DD58-EE4D-985A-0C11CF594C1C}"/>
              </a:ext>
            </a:extLst>
          </p:cNvPr>
          <p:cNvSpPr/>
          <p:nvPr userDrawn="1"/>
        </p:nvSpPr>
        <p:spPr>
          <a:xfrm>
            <a:off x="6292850" y="0"/>
            <a:ext cx="5899150" cy="6858000"/>
          </a:xfrm>
          <a:prstGeom prst="rect">
            <a:avLst/>
          </a:prstGeom>
          <a:solidFill>
            <a:srgbClr val="D1D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2528E8B7-D065-D44F-8393-E2414130CA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2001" y="2282824"/>
            <a:ext cx="4951414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2"/>
          <p:cNvSpPr>
            <a:spLocks noGrp="1"/>
          </p:cNvSpPr>
          <p:nvPr>
            <p:ph idx="14"/>
          </p:nvPr>
        </p:nvSpPr>
        <p:spPr>
          <a:xfrm>
            <a:off x="6665844" y="2282824"/>
            <a:ext cx="513563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 cap="none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720197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6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66D3C0A1-67C3-B64B-B074-B71DF9E5E7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91E0EF89-9F67-D845-B651-6DFBA08C8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E8CD041-E91E-A645-AEFF-E81853203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52349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п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>
            <a:extLst>
              <a:ext uri="{FF2B5EF4-FFF2-40B4-BE49-F238E27FC236}">
                <a16:creationId xmlns:a16="http://schemas.microsoft.com/office/drawing/2014/main" id="{C1897CE8-0729-5040-9C5D-2DD6EDEAB05A}"/>
              </a:ext>
            </a:extLst>
          </p:cNvPr>
          <p:cNvSpPr/>
          <p:nvPr userDrawn="1"/>
        </p:nvSpPr>
        <p:spPr>
          <a:xfrm>
            <a:off x="233363" y="0"/>
            <a:ext cx="6238875" cy="6858000"/>
          </a:xfrm>
          <a:prstGeom prst="rect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ECCC289-3DF3-7845-BD3E-8300E3D878F8}"/>
              </a:ext>
            </a:extLst>
          </p:cNvPr>
          <p:cNvSpPr/>
          <p:nvPr userDrawn="1"/>
        </p:nvSpPr>
        <p:spPr>
          <a:xfrm>
            <a:off x="6292850" y="0"/>
            <a:ext cx="5899150" cy="6858000"/>
          </a:xfrm>
          <a:prstGeom prst="rect">
            <a:avLst/>
          </a:prstGeom>
          <a:solidFill>
            <a:srgbClr val="181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8" name="Picture 9">
            <a:extLst>
              <a:ext uri="{FF2B5EF4-FFF2-40B4-BE49-F238E27FC236}">
                <a16:creationId xmlns:a16="http://schemas.microsoft.com/office/drawing/2014/main" id="{7475E74E-D10F-7B4B-8DC2-676D198234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2001" y="2282824"/>
            <a:ext cx="4951414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2"/>
          <p:cNvSpPr>
            <a:spLocks noGrp="1"/>
          </p:cNvSpPr>
          <p:nvPr>
            <p:ph idx="14"/>
          </p:nvPr>
        </p:nvSpPr>
        <p:spPr>
          <a:xfrm>
            <a:off x="6665844" y="2282824"/>
            <a:ext cx="513563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 cap="none" baseline="0">
                <a:solidFill>
                  <a:srgbClr val="FAEB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6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id="{8F856A87-B7AA-F74A-9A0B-8C8D2D1A6D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62000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915D1849-F070-B642-AEB2-F0F82A1448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F9F900"/>
                </a:solidFill>
              </a:defRPr>
            </a:lvl1pPr>
          </a:lstStyle>
          <a:p>
            <a:pPr>
              <a:defRPr/>
            </a:pPr>
            <a:fld id="{F1D7BFA0-1EA5-4648-80FB-49FCEB71A51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14689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>
            <a:extLst>
              <a:ext uri="{FF2B5EF4-FFF2-40B4-BE49-F238E27FC236}">
                <a16:creationId xmlns:a16="http://schemas.microsoft.com/office/drawing/2014/main" id="{B31A6492-F493-9040-A5A5-424CFFFC19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4" y="2282824"/>
            <a:ext cx="5337175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4"/>
          </p:nvPr>
        </p:nvSpPr>
        <p:spPr>
          <a:xfrm>
            <a:off x="6307281" y="2"/>
            <a:ext cx="5884719" cy="6868391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ru-RU" noProof="0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id="{A19B15BC-8611-A64F-ACDA-F0766832BF2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CE5BBB2F-619D-DD4B-8F29-A1F415ED87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BE17AF2-79B5-DE47-B00C-2078B6FC686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3347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>
            <a:extLst>
              <a:ext uri="{FF2B5EF4-FFF2-40B4-BE49-F238E27FC236}">
                <a16:creationId xmlns:a16="http://schemas.microsoft.com/office/drawing/2014/main" id="{76ECA4F6-D0CD-3141-BFE9-56D063099927}"/>
              </a:ext>
            </a:extLst>
          </p:cNvPr>
          <p:cNvSpPr/>
          <p:nvPr userDrawn="1"/>
        </p:nvSpPr>
        <p:spPr>
          <a:xfrm>
            <a:off x="77788" y="0"/>
            <a:ext cx="12114212" cy="6858000"/>
          </a:xfrm>
          <a:prstGeom prst="rect">
            <a:avLst/>
          </a:prstGeom>
          <a:solidFill>
            <a:srgbClr val="181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DA1AE46B-244F-4849-8E69-636AAD06E7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Рисунок 8"/>
          <p:cNvSpPr>
            <a:spLocks noGrp="1"/>
          </p:cNvSpPr>
          <p:nvPr>
            <p:ph type="pic" sz="quarter" idx="14"/>
          </p:nvPr>
        </p:nvSpPr>
        <p:spPr>
          <a:xfrm>
            <a:off x="6307281" y="2"/>
            <a:ext cx="5884719" cy="6868391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/>
          <a:p>
            <a:pPr lvl="0"/>
            <a:endParaRPr lang="ru-RU" noProof="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4" y="2282824"/>
            <a:ext cx="5337175" cy="12824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720197"/>
          </a:xfrm>
        </p:spPr>
        <p:txBody>
          <a:bodyPr/>
          <a:lstStyle>
            <a:lvl1pPr>
              <a:defRPr sz="26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FAEB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2E3AAB8F-8788-6542-A378-04EACBDB6E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66763" y="6573838"/>
            <a:ext cx="4114800" cy="2000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8C76073C-42BD-4143-ADBD-A7D8B5ADE3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1A2A8DF-4054-4244-858B-5894355B83D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08123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ехколон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FF22094-F348-DE4D-B58C-AF935121E6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5" y="2282824"/>
            <a:ext cx="343058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6" name="Объект 2"/>
          <p:cNvSpPr>
            <a:spLocks noGrp="1"/>
          </p:cNvSpPr>
          <p:nvPr>
            <p:ph idx="14"/>
          </p:nvPr>
        </p:nvSpPr>
        <p:spPr>
          <a:xfrm>
            <a:off x="8378825" y="2282824"/>
            <a:ext cx="3422650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Объект 2"/>
          <p:cNvSpPr>
            <a:spLocks noGrp="1"/>
          </p:cNvSpPr>
          <p:nvPr>
            <p:ph idx="15"/>
          </p:nvPr>
        </p:nvSpPr>
        <p:spPr>
          <a:xfrm>
            <a:off x="4572000" y="2282824"/>
            <a:ext cx="342423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E494E477-D1FF-214F-A172-A0406C54C9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1793FE2E-EF00-834A-8789-D40B96C2FE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5521E86-09D5-4946-96C4-F588BCCA310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1333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 с фотоизображением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-11575" y="0"/>
            <a:ext cx="770400" cy="6858000"/>
          </a:xfrm>
          <a:prstGeom prst="rect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Shape 134"/>
          <p:cNvSpPr>
            <a:spLocks noChangeArrowheads="1"/>
          </p:cNvSpPr>
          <p:nvPr userDrawn="1"/>
        </p:nvSpPr>
        <p:spPr bwMode="auto">
          <a:xfrm>
            <a:off x="105698" y="6510852"/>
            <a:ext cx="6531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45719" rIns="45719">
            <a:spAutoFit/>
          </a:bodyPr>
          <a:lstStyle/>
          <a:p>
            <a:pPr eaLnBrk="1"/>
            <a:r>
              <a:rPr lang="ru-RU" sz="600" dirty="0">
                <a:solidFill>
                  <a:schemeClr val="tx1"/>
                </a:solidFill>
                <a:sym typeface="Arial" charset="0"/>
              </a:rPr>
              <a:t>Просто. Четко.</a:t>
            </a:r>
          </a:p>
          <a:p>
            <a:pPr eaLnBrk="1"/>
            <a:r>
              <a:rPr lang="ru-RU" sz="600" dirty="0">
                <a:solidFill>
                  <a:schemeClr val="tx1"/>
                </a:solidFill>
                <a:sym typeface="Arial" charset="0"/>
              </a:rPr>
              <a:t>Компетентно.</a:t>
            </a: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20" y="153888"/>
            <a:ext cx="468000" cy="2129489"/>
          </a:xfrm>
          <a:prstGeom prst="rect">
            <a:avLst/>
          </a:prstGeom>
        </p:spPr>
      </p:pic>
      <p:sp>
        <p:nvSpPr>
          <p:cNvPr id="6" name="Rectangle 4"/>
          <p:cNvSpPr/>
          <p:nvPr userDrawn="1"/>
        </p:nvSpPr>
        <p:spPr>
          <a:xfrm>
            <a:off x="755651" y="0"/>
            <a:ext cx="6109757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 anchor="t"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759359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иктограммы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>
            <a:extLst>
              <a:ext uri="{FF2B5EF4-FFF2-40B4-BE49-F238E27FC236}">
                <a16:creationId xmlns:a16="http://schemas.microsoft.com/office/drawing/2014/main" id="{ACF67097-E768-984B-948B-BD90C0F860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8825" y="3429000"/>
            <a:ext cx="343058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Рисунок 8"/>
          <p:cNvSpPr>
            <a:spLocks noGrp="1"/>
          </p:cNvSpPr>
          <p:nvPr>
            <p:ph type="pic" sz="quarter" idx="16"/>
          </p:nvPr>
        </p:nvSpPr>
        <p:spPr>
          <a:xfrm>
            <a:off x="758825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20" name="Объект 2"/>
          <p:cNvSpPr>
            <a:spLocks noGrp="1"/>
          </p:cNvSpPr>
          <p:nvPr>
            <p:ph idx="17"/>
          </p:nvPr>
        </p:nvSpPr>
        <p:spPr>
          <a:xfrm>
            <a:off x="4575175" y="3429000"/>
            <a:ext cx="343058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Объект 2"/>
          <p:cNvSpPr>
            <a:spLocks noGrp="1"/>
          </p:cNvSpPr>
          <p:nvPr>
            <p:ph idx="18"/>
          </p:nvPr>
        </p:nvSpPr>
        <p:spPr>
          <a:xfrm>
            <a:off x="8378826" y="3429000"/>
            <a:ext cx="3430588" cy="1190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Рисунок 8"/>
          <p:cNvSpPr>
            <a:spLocks noGrp="1"/>
          </p:cNvSpPr>
          <p:nvPr>
            <p:ph type="pic" sz="quarter" idx="19"/>
          </p:nvPr>
        </p:nvSpPr>
        <p:spPr>
          <a:xfrm>
            <a:off x="4572000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28" name="Рисунок 8"/>
          <p:cNvSpPr>
            <a:spLocks noGrp="1"/>
          </p:cNvSpPr>
          <p:nvPr>
            <p:ph type="pic" sz="quarter" idx="20"/>
          </p:nvPr>
        </p:nvSpPr>
        <p:spPr>
          <a:xfrm>
            <a:off x="8378826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id="{E04A41F0-316A-9F4A-879A-24800604D5B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766763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A51FE26B-1907-7C4A-AFA2-14CBD2C4ECF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A0AFFB4-F304-8C40-9258-3B529C8ABE0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46339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>
            <a:extLst>
              <a:ext uri="{FF2B5EF4-FFF2-40B4-BE49-F238E27FC236}">
                <a16:creationId xmlns:a16="http://schemas.microsoft.com/office/drawing/2014/main" id="{48A9E2AC-F3AB-1946-9F69-E07D76660F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Объект 2"/>
          <p:cNvSpPr>
            <a:spLocks noGrp="1"/>
          </p:cNvSpPr>
          <p:nvPr>
            <p:ph idx="1"/>
          </p:nvPr>
        </p:nvSpPr>
        <p:spPr>
          <a:xfrm>
            <a:off x="1906587" y="2524423"/>
            <a:ext cx="4189413" cy="1282402"/>
          </a:xfrm>
          <a:prstGeom prst="rect">
            <a:avLst/>
          </a:prstGeom>
        </p:spPr>
        <p:txBody>
          <a:bodyPr/>
          <a:lstStyle>
            <a:lvl1pPr marL="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2"/>
          <p:cNvSpPr>
            <a:spLocks noGrp="1"/>
          </p:cNvSpPr>
          <p:nvPr>
            <p:ph idx="14"/>
          </p:nvPr>
        </p:nvSpPr>
        <p:spPr>
          <a:xfrm>
            <a:off x="7613650" y="2524423"/>
            <a:ext cx="4195764" cy="1040802"/>
          </a:xfrm>
          <a:prstGeom prst="rect">
            <a:avLst/>
          </a:prstGeom>
        </p:spPr>
        <p:txBody>
          <a:bodyPr/>
          <a:lstStyle>
            <a:lvl1pPr marL="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Font typeface="Arial" charset="0"/>
              <a:buNone/>
              <a:defRPr baseline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Рисунок 8"/>
          <p:cNvSpPr>
            <a:spLocks noGrp="1"/>
          </p:cNvSpPr>
          <p:nvPr>
            <p:ph type="pic" sz="quarter" idx="15"/>
          </p:nvPr>
        </p:nvSpPr>
        <p:spPr>
          <a:xfrm>
            <a:off x="758825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17" name="Рисунок 8"/>
          <p:cNvSpPr>
            <a:spLocks noGrp="1"/>
          </p:cNvSpPr>
          <p:nvPr>
            <p:ph type="pic" sz="quarter" idx="16"/>
          </p:nvPr>
        </p:nvSpPr>
        <p:spPr>
          <a:xfrm>
            <a:off x="6472237" y="2282823"/>
            <a:ext cx="765175" cy="765177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DB1BDD3C-4007-6F47-A072-5AE6B8EAF78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58825" y="6573838"/>
            <a:ext cx="4114800" cy="200025"/>
          </a:xfrm>
        </p:spPr>
        <p:txBody>
          <a:bodyPr/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38B3F488-2194-2142-B865-4A4DE7EB12E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5B371FA-9485-0347-89F6-23F6317FCA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21006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74123CFB-3997-D74A-B5FB-E107EE8666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Рисунок 8"/>
          <p:cNvSpPr>
            <a:spLocks noGrp="1"/>
          </p:cNvSpPr>
          <p:nvPr>
            <p:ph type="pic" sz="quarter" idx="16"/>
          </p:nvPr>
        </p:nvSpPr>
        <p:spPr>
          <a:xfrm>
            <a:off x="382588" y="0"/>
            <a:ext cx="11809413" cy="6858000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33475 w 6120638"/>
              <a:gd name="connsiteY2" fmla="*/ 41565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195125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41565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0392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  <a:gd name="connsiteX0" fmla="*/ 6086780 w 6087163"/>
              <a:gd name="connsiteY0" fmla="*/ 6858001 h 6868391"/>
              <a:gd name="connsiteX1" fmla="*/ 6087163 w 6087163"/>
              <a:gd name="connsiteY1" fmla="*/ 0 h 6868391"/>
              <a:gd name="connsiteX2" fmla="*/ 0 w 6087163"/>
              <a:gd name="connsiteY2" fmla="*/ 1 h 6868391"/>
              <a:gd name="connsiteX3" fmla="*/ 8088 w 6087163"/>
              <a:gd name="connsiteY3" fmla="*/ 6868391 h 6868391"/>
              <a:gd name="connsiteX4" fmla="*/ 6086780 w 6087163"/>
              <a:gd name="connsiteY4" fmla="*/ 6858001 h 686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7163" h="6868391">
                <a:moveTo>
                  <a:pt x="6086780" y="6858001"/>
                </a:moveTo>
                <a:cubicBezTo>
                  <a:pt x="6086907" y="4569179"/>
                  <a:pt x="6087036" y="2288822"/>
                  <a:pt x="6087163" y="0"/>
                </a:cubicBezTo>
                <a:lnTo>
                  <a:pt x="0" y="1"/>
                </a:lnTo>
                <a:lnTo>
                  <a:pt x="8088" y="6868391"/>
                </a:lnTo>
                <a:lnTo>
                  <a:pt x="6086780" y="6858001"/>
                </a:lnTo>
                <a:close/>
              </a:path>
            </a:pathLst>
          </a:custGeo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AC8463E6-BAC8-164D-8140-E167D0ECF16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69938" y="6573838"/>
            <a:ext cx="4114800" cy="2000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B92AD35E-AE42-EC4E-B6F0-496261DECAB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36865A6-F510-2849-AC2F-5E5316C6947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26819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Лозунговый слайд">
    <p:bg>
      <p:bgPr>
        <a:solidFill>
          <a:srgbClr val="FAE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72E46163-EA9C-704F-A7DD-565471ED77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381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Объект 2"/>
          <p:cNvSpPr>
            <a:spLocks noGrp="1"/>
          </p:cNvSpPr>
          <p:nvPr>
            <p:ph idx="14"/>
          </p:nvPr>
        </p:nvSpPr>
        <p:spPr>
          <a:xfrm>
            <a:off x="765175" y="2282824"/>
            <a:ext cx="11036300" cy="3385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 i="0" cap="none" baseline="0">
                <a:solidFill>
                  <a:schemeClr val="tx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767291" y="478121"/>
            <a:ext cx="7228947" cy="645203"/>
          </a:xfrm>
        </p:spPr>
        <p:txBody>
          <a:bodyPr/>
          <a:lstStyle>
            <a:lvl1pPr>
              <a:defRPr sz="2600" b="0" i="0" cap="none" baseline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6" name="Объект 2"/>
          <p:cNvSpPr>
            <a:spLocks noGrp="1"/>
          </p:cNvSpPr>
          <p:nvPr>
            <p:ph idx="13"/>
          </p:nvPr>
        </p:nvSpPr>
        <p:spPr>
          <a:xfrm>
            <a:off x="767291" y="1298204"/>
            <a:ext cx="722894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DA705DAA-AEDA-DC42-87DB-868CCA5527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65175" y="6573838"/>
            <a:ext cx="4114800" cy="20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4EE2D932-6AEF-D446-8BC7-67D812DB20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44238" y="6573838"/>
            <a:ext cx="765175" cy="153987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67F6EFC-0960-994A-89AD-8BAF98C9842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5490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>
            <a:extLst>
              <a:ext uri="{FF2B5EF4-FFF2-40B4-BE49-F238E27FC236}">
                <a16:creationId xmlns:a16="http://schemas.microsoft.com/office/drawing/2014/main" id="{1F8C7204-0B54-F341-9A5E-9445A41B7D59}"/>
              </a:ext>
            </a:extLst>
          </p:cNvPr>
          <p:cNvSpPr/>
          <p:nvPr userDrawn="1"/>
        </p:nvSpPr>
        <p:spPr>
          <a:xfrm>
            <a:off x="763588" y="0"/>
            <a:ext cx="9898062" cy="6858000"/>
          </a:xfrm>
          <a:prstGeom prst="rect">
            <a:avLst/>
          </a:prstGeom>
          <a:solidFill>
            <a:srgbClr val="181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BD3A2294-15D1-4744-8FBF-1EBF8092E5DC}"/>
              </a:ext>
            </a:extLst>
          </p:cNvPr>
          <p:cNvSpPr txBox="1">
            <a:spLocks/>
          </p:cNvSpPr>
          <p:nvPr userDrawn="1"/>
        </p:nvSpPr>
        <p:spPr>
          <a:xfrm>
            <a:off x="1149350" y="6594475"/>
            <a:ext cx="2292350" cy="17303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 charset="0"/>
              <a:buNone/>
              <a:defRPr sz="2400" b="0" i="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2000" b="0" i="0" kern="120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800" b="0" i="0" kern="120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600" b="0" i="0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600" b="0" i="0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1000" dirty="0"/>
              <a:t>raiffeisen.ru</a:t>
            </a:r>
            <a:endParaRPr lang="ru-RU" sz="1000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53919AD3-CFF4-B548-8C50-814CC83FDE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9180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 с фото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14EA4895-B61E-5248-BFB5-5B8C5D9DB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25" y="0"/>
            <a:ext cx="11445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8">
            <a:extLst>
              <a:ext uri="{FF2B5EF4-FFF2-40B4-BE49-F238E27FC236}">
                <a16:creationId xmlns:a16="http://schemas.microsoft.com/office/drawing/2014/main" id="{F0F17B14-13F8-574D-80AB-ED5D066FE88E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CF1179AD-3CEB-4540-9978-424B3FCA2A97}"/>
              </a:ext>
            </a:extLst>
          </p:cNvPr>
          <p:cNvSpPr txBox="1">
            <a:spLocks/>
          </p:cNvSpPr>
          <p:nvPr userDrawn="1"/>
        </p:nvSpPr>
        <p:spPr>
          <a:xfrm>
            <a:off x="1149350" y="6594475"/>
            <a:ext cx="2292350" cy="17303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 charset="0"/>
              <a:buNone/>
              <a:defRPr sz="2400" b="0" i="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2000" b="0" i="0" kern="120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800" b="0" i="0" kern="1200" baseline="0">
                <a:solidFill>
                  <a:schemeClr val="tx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600" b="0" i="0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Arial"/>
              <a:buNone/>
              <a:defRPr sz="1600" b="0" i="0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1000" dirty="0"/>
              <a:t>raiffeisen.ru</a:t>
            </a:r>
            <a:endParaRPr lang="ru-RU" sz="1000" dirty="0"/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F40C1CCB-7473-2D4F-9649-71789CB2A8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55738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сновной ">
  <p:cSld name="Основной 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subTitle" idx="1"/>
          </p:nvPr>
        </p:nvSpPr>
        <p:spPr>
          <a:xfrm>
            <a:off x="550863" y="598045"/>
            <a:ext cx="11090274" cy="583399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87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993"/>
              <a:buFont typeface="Arial"/>
              <a:buNone/>
              <a:defRPr sz="89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07257" marR="0" lvl="2" indent="-4588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544"/>
              <a:buFont typeface="Arial"/>
              <a:buNone/>
              <a:defRPr sz="138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60886" marR="0" lvl="3" indent="-1170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14515" marR="0" lvl="4" indent="-9177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94959" marR="0" lvl="5" indent="-232573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48588" marR="0" lvl="6" indent="-229154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02216" marR="0" lvl="7" indent="-23716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55845" marR="0" lvl="8" indent="-233742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body" idx="2"/>
          </p:nvPr>
        </p:nvSpPr>
        <p:spPr>
          <a:xfrm>
            <a:off x="1019174" y="1474336"/>
            <a:ext cx="1101880" cy="428420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11343" marR="0" lvl="0" indent="-205671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44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22686" marR="0" lvl="1" indent="-205671" algn="l" rtl="0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993"/>
              <a:buFont typeface="Arial"/>
              <a:buNone/>
              <a:defRPr sz="89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34029" marR="0" lvl="2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544"/>
              <a:buFont typeface="Arial"/>
              <a:buNone/>
              <a:defRPr sz="138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45371" marR="0" lvl="3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6714" marR="0" lvl="4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68057" marR="0" lvl="5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879400" marR="0" lvl="6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90743" marR="0" lvl="7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02086" marR="0" lvl="8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body" idx="3"/>
          </p:nvPr>
        </p:nvSpPr>
        <p:spPr>
          <a:xfrm>
            <a:off x="1022145" y="6445691"/>
            <a:ext cx="442771" cy="284343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11343" marR="0" lvl="0" indent="-20567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72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22686" marR="0" lvl="1" indent="-205671" algn="l" rtl="0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993"/>
              <a:buFont typeface="Arial"/>
              <a:buNone/>
              <a:defRPr sz="89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34029" marR="0" lvl="2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544"/>
              <a:buFont typeface="Arial"/>
              <a:buNone/>
              <a:defRPr sz="138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45371" marR="0" lvl="3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6714" marR="0" lvl="4" indent="-205671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323"/>
              <a:buFont typeface="Arial"/>
              <a:buNone/>
              <a:defRPr sz="11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68057" marR="0" lvl="5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879400" marR="0" lvl="6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90743" marR="0" lvl="7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02086" marR="0" lvl="8" indent="-319076" algn="l" rtl="0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985"/>
              <a:buFont typeface="Arial"/>
              <a:buChar char="•"/>
              <a:defRPr sz="178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ctrTitle"/>
          </p:nvPr>
        </p:nvSpPr>
        <p:spPr>
          <a:xfrm>
            <a:off x="550863" y="122157"/>
            <a:ext cx="1269578" cy="335703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 anchor="b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13"/>
              <a:buFont typeface="Arial"/>
              <a:buNone/>
              <a:defRPr sz="109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619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923207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сновной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50863" y="598045"/>
            <a:ext cx="11090275" cy="479422"/>
          </a:xfrm>
        </p:spPr>
        <p:txBody>
          <a:bodyPr tIns="36000" rtlCol="0"/>
          <a:lstStyle>
            <a:lvl1pPr>
              <a:defRPr lang="ru-RU" sz="2879" b="1" baseline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1019174" y="1474336"/>
            <a:ext cx="1688219" cy="224870"/>
          </a:xfrm>
          <a:noFill/>
        </p:spPr>
        <p:txBody>
          <a:bodyPr wrap="none"/>
          <a:lstStyle>
            <a:lvl1pPr>
              <a:lnSpc>
                <a:spcPct val="110000"/>
              </a:lnSpc>
              <a:defRPr sz="1440">
                <a:latin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1"/>
          </p:nvPr>
        </p:nvSpPr>
        <p:spPr>
          <a:xfrm>
            <a:off x="1022145" y="6445691"/>
            <a:ext cx="886461" cy="110800"/>
          </a:xfrm>
        </p:spPr>
        <p:txBody>
          <a:bodyPr wrap="none"/>
          <a:lstStyle>
            <a:lvl1pPr>
              <a:defRPr sz="720" baseline="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01143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сновной ">
  <p:cSld name="2_Основной 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7"/>
          <p:cNvSpPr txBox="1">
            <a:spLocks noGrp="1"/>
          </p:cNvSpPr>
          <p:nvPr>
            <p:ph type="subTitle" idx="1"/>
          </p:nvPr>
        </p:nvSpPr>
        <p:spPr>
          <a:xfrm>
            <a:off x="550863" y="598045"/>
            <a:ext cx="11090274" cy="434856"/>
          </a:xfrm>
          <a:prstGeom prst="rect">
            <a:avLst/>
          </a:prstGeom>
          <a:noFill/>
          <a:ln>
            <a:noFill/>
          </a:ln>
        </p:spPr>
        <p:txBody>
          <a:bodyPr spcFirstLastPara="1" tIns="3600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2879" b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lvl="2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lvl="3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lvl="4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lvl="5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2"/>
          </p:nvPr>
        </p:nvSpPr>
        <p:spPr>
          <a:xfrm>
            <a:off x="1019174" y="1474336"/>
            <a:ext cx="1101880" cy="245601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11343" lvl="0" indent="-205671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440">
                <a:latin typeface="Arial"/>
                <a:ea typeface="Arial"/>
                <a:cs typeface="Arial"/>
                <a:sym typeface="Arial"/>
              </a:defRPr>
            </a:lvl1pPr>
            <a:lvl2pPr marL="822686" lvl="1" indent="-205671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234029" lvl="2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645371" lvl="3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056714" lvl="4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468057" lvl="5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879400" lvl="6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290743" lvl="7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02086" lvl="8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3"/>
          </p:nvPr>
        </p:nvSpPr>
        <p:spPr>
          <a:xfrm>
            <a:off x="1022145" y="6445691"/>
            <a:ext cx="442771" cy="100474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411343" lvl="0" indent="-20567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720">
                <a:latin typeface="Arial"/>
                <a:ea typeface="Arial"/>
                <a:cs typeface="Arial"/>
                <a:sym typeface="Arial"/>
              </a:defRPr>
            </a:lvl1pPr>
            <a:lvl2pPr marL="822686" lvl="1" indent="-205671" algn="l">
              <a:lnSpc>
                <a:spcPct val="100000"/>
              </a:lnSpc>
              <a:spcBef>
                <a:spcPts val="794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234029" lvl="2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645371" lvl="3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056714" lvl="4" indent="-205671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468057" lvl="5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879400" lvl="6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290743" lvl="7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702086" lvl="8" indent="-308507" algn="l">
              <a:lnSpc>
                <a:spcPct val="90000"/>
              </a:lnSpc>
              <a:spcBef>
                <a:spcPts val="49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66740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Основной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Shape 20"/>
          <p:cNvGrpSpPr/>
          <p:nvPr/>
        </p:nvGrpSpPr>
        <p:grpSpPr>
          <a:xfrm>
            <a:off x="251930" y="90768"/>
            <a:ext cx="889978" cy="1030600"/>
            <a:chOff x="329724" y="87836"/>
            <a:chExt cx="989173" cy="1135566"/>
          </a:xfrm>
        </p:grpSpPr>
        <p:sp>
          <p:nvSpPr>
            <p:cNvPr id="97" name="Shape 21"/>
            <p:cNvSpPr/>
            <p:nvPr/>
          </p:nvSpPr>
          <p:spPr>
            <a:xfrm rot="5400000">
              <a:off x="256527" y="161033"/>
              <a:ext cx="1135568" cy="989174"/>
            </a:xfrm>
            <a:prstGeom prst="triangle">
              <a:avLst/>
            </a:prstGeom>
            <a:solidFill>
              <a:srgbClr val="FFF200"/>
            </a:solidFill>
            <a:ln w="25400" cap="flat">
              <a:solidFill>
                <a:srgbClr val="FFF20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1800">
                  <a:solidFill>
                    <a:srgbClr val="FFFFFF"/>
                  </a:solidFill>
                </a:defRPr>
              </a:pPr>
              <a:endParaRPr sz="1619"/>
            </a:p>
          </p:txBody>
        </p:sp>
        <p:sp>
          <p:nvSpPr>
            <p:cNvPr id="98" name="Shape 22"/>
            <p:cNvSpPr/>
            <p:nvPr/>
          </p:nvSpPr>
          <p:spPr>
            <a:xfrm rot="5400000">
              <a:off x="1054114" y="428208"/>
              <a:ext cx="250207" cy="203072"/>
            </a:xfrm>
            <a:prstGeom prst="triangle">
              <a:avLst/>
            </a:prstGeom>
            <a:noFill/>
            <a:ln w="41275" cap="flat">
              <a:solidFill>
                <a:srgbClr val="4D5158"/>
              </a:solidFill>
              <a:prstDash val="solid"/>
              <a:miter lim="8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1800">
                  <a:solidFill>
                    <a:srgbClr val="FFFFFF"/>
                  </a:solidFill>
                </a:defRPr>
              </a:pPr>
              <a:endParaRPr sz="1619"/>
            </a:p>
          </p:txBody>
        </p:sp>
      </p:grpSp>
      <p:sp>
        <p:nvSpPr>
          <p:cNvPr id="100" name="Shape 25"/>
          <p:cNvSpPr/>
          <p:nvPr/>
        </p:nvSpPr>
        <p:spPr>
          <a:xfrm>
            <a:off x="550861" y="660"/>
            <a:ext cx="11090274" cy="83411"/>
          </a:xfrm>
          <a:prstGeom prst="rect">
            <a:avLst/>
          </a:prstGeom>
          <a:solidFill>
            <a:srgbClr val="FFF200"/>
          </a:solidFill>
          <a:ln w="12700">
            <a:miter lim="400000"/>
          </a:ln>
        </p:spPr>
        <p:txBody>
          <a:bodyPr lIns="41133" tIns="41133" rIns="41133" bIns="41133" anchor="ctr"/>
          <a:lstStyle/>
          <a:p>
            <a:pPr algn="ctr">
              <a:defRPr sz="1900">
                <a:solidFill>
                  <a:srgbClr val="FFFFFF"/>
                </a:solidFill>
              </a:defRPr>
            </a:pPr>
            <a:endParaRPr sz="1709"/>
          </a:p>
        </p:txBody>
      </p:sp>
      <p:pic>
        <p:nvPicPr>
          <p:cNvPr id="101" name="Shape 26" descr="Shape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4575" y="209013"/>
            <a:ext cx="1138992" cy="276628"/>
          </a:xfrm>
          <a:prstGeom prst="rect">
            <a:avLst/>
          </a:prstGeom>
          <a:ln w="12700">
            <a:miter lim="400000"/>
          </a:ln>
        </p:spPr>
      </p:pic>
      <p:sp>
        <p:nvSpPr>
          <p:cNvPr id="10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50863" y="598546"/>
            <a:ext cx="11090275" cy="2574423"/>
          </a:xfrm>
          <a:prstGeom prst="rect">
            <a:avLst/>
          </a:prstGeom>
        </p:spPr>
        <p:txBody>
          <a:bodyPr lIns="0" tIns="0" rIns="0" bIns="0"/>
          <a:lstStyle>
            <a:lvl1pPr>
              <a:defRPr sz="2879" b="1"/>
            </a:lvl1pPr>
            <a:lvl2pPr>
              <a:defRPr sz="2879" b="1"/>
            </a:lvl2pPr>
            <a:lvl3pPr>
              <a:defRPr sz="2879" b="1"/>
            </a:lvl3pPr>
            <a:lvl4pPr>
              <a:defRPr sz="2879" b="1"/>
            </a:lvl4pPr>
            <a:lvl5pPr>
              <a:defRPr sz="2879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3" name="Shape 54"/>
          <p:cNvSpPr txBox="1">
            <a:spLocks noGrp="1"/>
          </p:cNvSpPr>
          <p:nvPr>
            <p:ph type="body" sz="quarter" idx="13"/>
          </p:nvPr>
        </p:nvSpPr>
        <p:spPr>
          <a:xfrm>
            <a:off x="1019174" y="1475572"/>
            <a:ext cx="1101883" cy="24581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4" name="Shape 55"/>
          <p:cNvSpPr txBox="1">
            <a:spLocks noGrp="1"/>
          </p:cNvSpPr>
          <p:nvPr>
            <p:ph type="body" sz="quarter" idx="14"/>
          </p:nvPr>
        </p:nvSpPr>
        <p:spPr>
          <a:xfrm>
            <a:off x="1022143" y="6451108"/>
            <a:ext cx="442775" cy="246221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50862" y="305767"/>
            <a:ext cx="1269581" cy="15248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80" b="0">
                <a:solidFill>
                  <a:srgbClr val="E7E6E6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91391" y="6143987"/>
            <a:ext cx="246210" cy="424728"/>
          </a:xfrm>
          <a:prstGeom prst="rect">
            <a:avLst/>
          </a:prstGeom>
        </p:spPr>
        <p:txBody>
          <a:bodyPr lIns="45718" tIns="45718" rIns="45718" bIns="45718" anchor="ctr"/>
          <a:lstStyle>
            <a:lvl1pPr>
              <a:defRPr sz="108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452525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с фотоизображением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B4750B5A-2E74-654F-97DD-6B315BA76494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EFEF0BDD-CD03-FA4D-A100-B88F3474CB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56241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Основной слайд"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12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67291" y="478121"/>
            <a:ext cx="7228947" cy="1218795"/>
          </a:xfrm>
        </p:spPr>
        <p:txBody>
          <a:bodyPr/>
          <a:lstStyle>
            <a:lvl1pPr>
              <a:defRPr sz="4400" b="0" i="0" cap="none" baseline="0">
                <a:latin typeface="Century Gothic" panose="020B0502020202020204" pitchFamily="34" charset="0"/>
              </a:defRPr>
            </a:lvl1pPr>
          </a:lstStyle>
          <a:p>
            <a:r>
              <a:rPr lang="ru-RU" dirty="0"/>
              <a:t>Основной </a:t>
            </a:r>
            <a:br>
              <a:rPr lang="ru-RU" dirty="0"/>
            </a:br>
            <a:r>
              <a:rPr lang="ru-RU" dirty="0"/>
              <a:t>слайд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0"/>
            <a:ext cx="381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0430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238539"/>
            <a:ext cx="11329456" cy="612000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ru-RU" dirty="0"/>
              <a:t>Заголовок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20000" y="-12499"/>
            <a:ext cx="6720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C1E638-3F78-4E0D-883A-B278700C48C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854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 с фотоизображением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4D696FF8-9410-B84D-BB28-843C1C1CEED2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F501E615-3ED8-D841-BD88-CE8B3AD1367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237944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 с фотоизображением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D09F47DF-DB4D-3445-A6DB-29B91CF6825B}"/>
              </a:ext>
            </a:extLst>
          </p:cNvPr>
          <p:cNvSpPr/>
          <p:nvPr userDrawn="1"/>
        </p:nvSpPr>
        <p:spPr>
          <a:xfrm>
            <a:off x="758825" y="0"/>
            <a:ext cx="6107113" cy="6858000"/>
          </a:xfrm>
          <a:prstGeom prst="rect">
            <a:avLst/>
          </a:prstGeom>
          <a:solidFill>
            <a:srgbClr val="181C2B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3DD1943F-A3ED-AF47-9B0C-587C853E42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81297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CE12BECF-54AD-0541-BE40-0D3316F01168}"/>
              </a:ext>
            </a:extLst>
          </p:cNvPr>
          <p:cNvSpPr/>
          <p:nvPr userDrawn="1"/>
        </p:nvSpPr>
        <p:spPr>
          <a:xfrm>
            <a:off x="763588" y="0"/>
            <a:ext cx="9898062" cy="6858000"/>
          </a:xfrm>
          <a:prstGeom prst="rect">
            <a:avLst/>
          </a:prstGeom>
          <a:solidFill>
            <a:srgbClr val="181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8F485140-D803-C949-8A98-4F8B35D9AC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44314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первого уровня">
    <p:bg>
      <p:bgPr>
        <a:solidFill>
          <a:srgbClr val="181C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57A2647C-B154-6C43-A97F-E9683F33561C}"/>
              </a:ext>
            </a:extLst>
          </p:cNvPr>
          <p:cNvSpPr/>
          <p:nvPr userDrawn="1"/>
        </p:nvSpPr>
        <p:spPr>
          <a:xfrm>
            <a:off x="11801475" y="0"/>
            <a:ext cx="390525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736B5CFC-E7F5-9E40-98B0-C5ED71CB0A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77454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второго уровня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14D344FB-A428-A644-90B4-A291A5D96239}"/>
              </a:ext>
            </a:extLst>
          </p:cNvPr>
          <p:cNvSpPr/>
          <p:nvPr userDrawn="1"/>
        </p:nvSpPr>
        <p:spPr>
          <a:xfrm>
            <a:off x="11801475" y="0"/>
            <a:ext cx="390525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C2141C91-4200-324D-BF9D-DACFB810D8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76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553998"/>
          </a:xfrm>
        </p:spPr>
        <p:txBody>
          <a:bodyPr/>
          <a:lstStyle>
            <a:lvl1pPr algn="l">
              <a:defRPr sz="4000" b="0" i="0" cap="none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9881" y="1906588"/>
            <a:ext cx="5322358" cy="3693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chemeClr val="tx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64661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Основной слайд">
    <p:bg>
      <p:bgPr>
        <a:blipFill dpi="0" rotWithShape="1">
          <a:blip r:embed="rId2"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15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762001" y="2282824"/>
            <a:ext cx="4951414" cy="2462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67291" y="478121"/>
            <a:ext cx="7228947" cy="1218795"/>
          </a:xfrm>
        </p:spPr>
        <p:txBody>
          <a:bodyPr/>
          <a:lstStyle>
            <a:lvl1pPr>
              <a:defRPr sz="4400" b="0" i="0" cap="none" baseline="0">
                <a:latin typeface="Century Gothic" panose="020B0502020202020204" pitchFamily="34" charset="0"/>
              </a:defRPr>
            </a:lvl1pPr>
          </a:lstStyle>
          <a:p>
            <a:r>
              <a:rPr lang="ru-RU" dirty="0"/>
              <a:t>Основной </a:t>
            </a:r>
            <a:br>
              <a:rPr lang="ru-RU" dirty="0"/>
            </a:br>
            <a:r>
              <a:rPr lang="ru-RU" dirty="0"/>
              <a:t>слайд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0"/>
            <a:ext cx="381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8288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849376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36" imgW="416" imgH="416" progId="TCLayout.ActiveDocument.1">
                  <p:embed/>
                </p:oleObj>
              </mc:Choice>
              <mc:Fallback>
                <p:oleObj name="think-cell Slide" r:id="rId3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0"/>
            <a:endParaRPr lang="ru-RU" sz="2600" b="0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38EBDB47-19EF-C847-A74A-D200522C408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E313CAC-B6C4-6B43-BCBB-0A3902695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2588" y="6472238"/>
            <a:ext cx="4114800" cy="200025"/>
          </a:xfrm>
          <a:prstGeom prst="rect">
            <a:avLst/>
          </a:prstGeom>
        </p:spPr>
        <p:txBody>
          <a:bodyPr vert="horz" lIns="0" tIns="0" rIns="91440" bIns="45720" rtlCol="0" anchor="t" anchorCtr="0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1000" b="0" i="0">
                <a:effectLst/>
                <a:latin typeface="+mn-lt"/>
              </a:defRPr>
            </a:lvl1pPr>
          </a:lstStyle>
          <a:p>
            <a:pPr>
              <a:defRPr/>
            </a:pPr>
            <a:r>
              <a:rPr lang="ru-RU"/>
              <a:t>Нижний </a:t>
            </a:r>
            <a:r>
              <a:rPr lang="ru-RU" err="1"/>
              <a:t>коллонтитул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E9E016D-F5AC-B340-9F84-4E56303CCC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4238" y="6472238"/>
            <a:ext cx="765175" cy="1539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b="0" i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fld id="{8ACBD6EA-ABDB-5549-8164-A0F3DE43174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29" name="Текст 7">
            <a:extLst>
              <a:ext uri="{FF2B5EF4-FFF2-40B4-BE49-F238E27FC236}">
                <a16:creationId xmlns:a16="http://schemas.microsoft.com/office/drawing/2014/main" id="{3D318317-8555-7945-9704-46B7921AF9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90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905" r:id="rId9"/>
    <p:sldLayoutId id="2147483906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  <p:sldLayoutId id="2147483889" r:id="rId19"/>
    <p:sldLayoutId id="2147483890" r:id="rId20"/>
    <p:sldLayoutId id="2147483891" r:id="rId21"/>
    <p:sldLayoutId id="2147483892" r:id="rId22"/>
    <p:sldLayoutId id="2147483893" r:id="rId23"/>
    <p:sldLayoutId id="2147483894" r:id="rId24"/>
    <p:sldLayoutId id="2147483895" r:id="rId25"/>
    <p:sldLayoutId id="2147483896" r:id="rId26"/>
    <p:sldLayoutId id="2147483897" r:id="rId27"/>
    <p:sldLayoutId id="2147483898" r:id="rId28"/>
    <p:sldLayoutId id="2147483899" r:id="rId29"/>
    <p:sldLayoutId id="2147483907" r:id="rId30"/>
    <p:sldLayoutId id="2147483908" r:id="rId31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kern="1200">
          <a:solidFill>
            <a:srgbClr val="000000"/>
          </a:solidFill>
          <a:latin typeface="Arial" charset="0"/>
          <a:ea typeface="Arial" charset="0"/>
          <a:cs typeface="Arial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ts val="8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262626"/>
          </a:solidFill>
          <a:latin typeface="Arial" charset="0"/>
          <a:ea typeface="Arial" charset="0"/>
          <a:cs typeface="Arial" charset="0"/>
        </a:defRPr>
      </a:lvl1pPr>
      <a:lvl2pPr marL="685800" indent="-228600" algn="l" rtl="0" eaLnBrk="0" fontAlgn="base" hangingPunct="0">
        <a:spcBef>
          <a:spcPts val="8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262626"/>
          </a:solidFill>
          <a:latin typeface="Arial" charset="0"/>
          <a:ea typeface="Arial" charset="0"/>
          <a:cs typeface="Arial" charset="0"/>
        </a:defRPr>
      </a:lvl2pPr>
      <a:lvl3pPr marL="1143000" indent="-228600" algn="l" rtl="0" eaLnBrk="0" fontAlgn="base" hangingPunct="0">
        <a:spcBef>
          <a:spcPts val="8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262626"/>
          </a:solidFill>
          <a:latin typeface="Arial" charset="0"/>
          <a:ea typeface="Arial" charset="0"/>
          <a:cs typeface="Arial" charset="0"/>
        </a:defRPr>
      </a:lvl3pPr>
      <a:lvl4pPr marL="1600200" indent="-228600" algn="l" rtl="0" eaLnBrk="0" fontAlgn="base" hangingPunct="0">
        <a:spcBef>
          <a:spcPts val="6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858585"/>
          </a:solidFill>
          <a:latin typeface="Arial" charset="0"/>
          <a:ea typeface="Arial" charset="0"/>
          <a:cs typeface="Arial" charset="0"/>
        </a:defRPr>
      </a:lvl4pPr>
      <a:lvl5pPr marL="2057400" indent="-228600" algn="l" rtl="0" eaLnBrk="0" fontAlgn="base" hangingPunct="0">
        <a:spcBef>
          <a:spcPts val="600"/>
        </a:spcBef>
        <a:spcAft>
          <a:spcPct val="0"/>
        </a:spcAft>
        <a:buClr>
          <a:srgbClr val="191919"/>
        </a:buClr>
        <a:buFont typeface="Arial" panose="020B0604020202020204" pitchFamily="34" charset="0"/>
        <a:buChar char="•"/>
        <a:defRPr sz="1600" kern="1200">
          <a:solidFill>
            <a:srgbClr val="858585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05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latin typeface="Century Gothic" panose="020B0502020202020204" pitchFamily="34" charset="0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9880" y="1144588"/>
            <a:ext cx="10142960" cy="609398"/>
          </a:xfrm>
        </p:spPr>
        <p:txBody>
          <a:bodyPr/>
          <a:lstStyle/>
          <a:p>
            <a:r>
              <a:rPr lang="ru-RU" sz="4400" b="1" dirty="0">
                <a:latin typeface="Century Gothic" panose="020B0502020202020204" pitchFamily="34" charset="0"/>
              </a:rPr>
              <a:t>Введение в теорию тест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153531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5622555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Зачем нужно тестирование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3376" y="2140019"/>
            <a:ext cx="91031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конечный продукт работает так, как было заявлено в требованиях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03376" y="3002301"/>
            <a:ext cx="81236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продукт работает на разных операционных системах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03376" y="3864583"/>
            <a:ext cx="79396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все данные защищены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03376" y="4726865"/>
            <a:ext cx="77567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система будет работать при заявленной нагрузке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003376" y="5589146"/>
            <a:ext cx="69470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…пользователю удобно работать с системой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003376" y="1356433"/>
            <a:ext cx="53685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Century Gothic" panose="020B0502020202020204" pitchFamily="34" charset="0"/>
              </a:rPr>
              <a:t>Тестирование гарантирует, что…</a:t>
            </a:r>
          </a:p>
        </p:txBody>
      </p:sp>
    </p:spTree>
    <p:extLst>
      <p:ext uri="{BB962C8B-B14F-4D97-AF65-F5344CB8AC3E}">
        <p14:creationId xmlns:p14="http://schemas.microsoft.com/office/powerpoint/2010/main" val="3175109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7" grpId="0"/>
      <p:bldP spid="29" grpId="0"/>
      <p:bldP spid="30" grpId="0"/>
      <p:bldP spid="31" grpId="0"/>
      <p:bldP spid="3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3957385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Виды тестирования</a:t>
            </a:r>
          </a:p>
        </p:txBody>
      </p:sp>
      <p:sp>
        <p:nvSpPr>
          <p:cNvPr id="12" name="Oval 11"/>
          <p:cNvSpPr/>
          <p:nvPr/>
        </p:nvSpPr>
        <p:spPr>
          <a:xfrm>
            <a:off x="6545650" y="3170235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Oval 12"/>
          <p:cNvSpPr/>
          <p:nvPr/>
        </p:nvSpPr>
        <p:spPr>
          <a:xfrm>
            <a:off x="6545650" y="4135693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Oval 13"/>
          <p:cNvSpPr/>
          <p:nvPr/>
        </p:nvSpPr>
        <p:spPr>
          <a:xfrm>
            <a:off x="6545650" y="509219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Oval 14"/>
          <p:cNvSpPr/>
          <p:nvPr/>
        </p:nvSpPr>
        <p:spPr>
          <a:xfrm>
            <a:off x="6545650" y="221516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Oval 15"/>
          <p:cNvSpPr/>
          <p:nvPr/>
        </p:nvSpPr>
        <p:spPr>
          <a:xfrm>
            <a:off x="6545650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Oval 16"/>
          <p:cNvSpPr/>
          <p:nvPr/>
        </p:nvSpPr>
        <p:spPr>
          <a:xfrm>
            <a:off x="802249" y="3170235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Oval 17"/>
          <p:cNvSpPr/>
          <p:nvPr/>
        </p:nvSpPr>
        <p:spPr>
          <a:xfrm>
            <a:off x="802249" y="4135693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Oval 18"/>
          <p:cNvSpPr/>
          <p:nvPr/>
        </p:nvSpPr>
        <p:spPr>
          <a:xfrm>
            <a:off x="802249" y="509219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Oval 19"/>
          <p:cNvSpPr/>
          <p:nvPr/>
        </p:nvSpPr>
        <p:spPr>
          <a:xfrm>
            <a:off x="802249" y="221516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Oval 20"/>
          <p:cNvSpPr/>
          <p:nvPr/>
        </p:nvSpPr>
        <p:spPr>
          <a:xfrm>
            <a:off x="802249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1003376" y="1289647"/>
            <a:ext cx="4483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Функциональное тестирование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11835" y="2249018"/>
            <a:ext cx="42820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Нагрузочное тестирование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11835" y="320838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Стресс-тестирование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11835" y="4167760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стабильност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03376" y="5127132"/>
            <a:ext cx="4762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Конфигурационное тестирование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752235" y="2249018"/>
            <a:ext cx="41528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интерфейса пользователя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752235" y="320838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безопасности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752235" y="4167760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локализации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752235" y="5127132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совместимост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752234" y="1289647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Юзабилити</a:t>
            </a:r>
            <a:r>
              <a:rPr lang="ru-RU" sz="2000" dirty="0">
                <a:latin typeface="Century Gothic" panose="020B0502020202020204" pitchFamily="34" charset="0"/>
              </a:rPr>
              <a:t>-тест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4154010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/>
      <p:bldP spid="23" grpId="0"/>
      <p:bldP spid="24" grpId="0"/>
      <p:bldP spid="26" grpId="0"/>
      <p:bldP spid="28" grpId="0"/>
      <p:bldP spid="32" grpId="0"/>
      <p:bldP spid="33" grpId="0"/>
      <p:bldP spid="34" grpId="0"/>
      <p:bldP spid="36" grpId="0"/>
      <p:bldP spid="3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3957385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Виды тестирования</a:t>
            </a:r>
          </a:p>
        </p:txBody>
      </p:sp>
      <p:sp>
        <p:nvSpPr>
          <p:cNvPr id="21" name="Oval 20"/>
          <p:cNvSpPr/>
          <p:nvPr/>
        </p:nvSpPr>
        <p:spPr>
          <a:xfrm>
            <a:off x="802249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1003375" y="1289647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знанию внутреннего строения системы</a:t>
            </a: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282768" y="1755829"/>
            <a:ext cx="68452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черного ящика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белого ящика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серого ящика</a:t>
            </a: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802249" y="27981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1003375" y="2833047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степени автоматизации</a:t>
            </a: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282768" y="3299229"/>
            <a:ext cx="68452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Ручно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Автоматизированно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 err="1">
                <a:latin typeface="Century Gothic" panose="020B0502020202020204" pitchFamily="34" charset="0"/>
              </a:rPr>
              <a:t>Полуавтоматизированное</a:t>
            </a:r>
            <a:r>
              <a:rPr lang="ru-RU" sz="1600" dirty="0">
                <a:latin typeface="Century Gothic" panose="020B0502020202020204" pitchFamily="34" charset="0"/>
              </a:rPr>
              <a:t> тестирование</a:t>
            </a: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802249" y="4373399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1003375" y="4408332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степени изолированности</a:t>
            </a: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282768" y="4874514"/>
            <a:ext cx="68452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компонентов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Интеграционно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Системное тестирование</a:t>
            </a: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812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/>
      <p:bldP spid="25" grpId="0"/>
      <p:bldP spid="27" grpId="0" animBg="1"/>
      <p:bldP spid="29" grpId="0"/>
      <p:bldP spid="30" grpId="0"/>
      <p:bldP spid="31" grpId="0" animBg="1"/>
      <p:bldP spid="35" grpId="0"/>
      <p:bldP spid="3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7"/>
          <p:cNvSpPr>
            <a:spLocks noGrp="1"/>
          </p:cNvSpPr>
          <p:nvPr>
            <p:ph type="sldNum" sz="quarter" idx="17"/>
          </p:nvPr>
        </p:nvSpPr>
        <p:spPr>
          <a:xfrm>
            <a:off x="11044238" y="6573838"/>
            <a:ext cx="765175" cy="153987"/>
          </a:xfrm>
        </p:spPr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3957385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23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Виды тестирования</a:t>
            </a:r>
          </a:p>
        </p:txBody>
      </p:sp>
      <p:sp>
        <p:nvSpPr>
          <p:cNvPr id="24" name="Oval 23"/>
          <p:cNvSpPr/>
          <p:nvPr/>
        </p:nvSpPr>
        <p:spPr>
          <a:xfrm>
            <a:off x="802249" y="125471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1003375" y="1289647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времени проведения тестирования</a:t>
            </a: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282768" y="1755829"/>
            <a:ext cx="684523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>
                <a:latin typeface="Century Gothic" panose="020B0502020202020204" pitchFamily="34" charset="0"/>
              </a:rPr>
              <a:t>Smoke </a:t>
            </a:r>
            <a:r>
              <a:rPr lang="ru-RU" sz="1600" dirty="0">
                <a:latin typeface="Century Gothic" panose="020B0502020202020204" pitchFamily="34" charset="0"/>
              </a:rPr>
              <a:t>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Тестирование новой функции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Подтверждающе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Регрессионно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Приемочное </a:t>
            </a:r>
            <a:r>
              <a:rPr lang="ru-RU" sz="1600" dirty="0" err="1">
                <a:latin typeface="Century Gothic" panose="020B0502020202020204" pitchFamily="34" charset="0"/>
              </a:rPr>
              <a:t>тестрование</a:t>
            </a:r>
            <a:endParaRPr lang="ru-RU" sz="1600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812792" y="314600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1047780" y="3146004"/>
            <a:ext cx="596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о признаку позитивности сценариев</a:t>
            </a:r>
          </a:p>
          <a:p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284138" y="3612186"/>
            <a:ext cx="68452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Позитивное тестирование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latin typeface="Century Gothic" panose="020B0502020202020204" pitchFamily="34" charset="0"/>
              </a:rPr>
              <a:t>Негативное тест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2464131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/>
      <p:bldP spid="26" grpId="0"/>
      <p:bldP spid="27" grpId="0" animBg="1"/>
      <p:bldP spid="28" grpId="0"/>
      <p:bldP spid="2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9" y="443928"/>
            <a:ext cx="5295296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Инструменты тестирования</a:t>
            </a:r>
          </a:p>
        </p:txBody>
      </p:sp>
      <p:sp>
        <p:nvSpPr>
          <p:cNvPr id="14" name="Oval 13"/>
          <p:cNvSpPr/>
          <p:nvPr/>
        </p:nvSpPr>
        <p:spPr>
          <a:xfrm>
            <a:off x="802249" y="3574498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Oval 14"/>
          <p:cNvSpPr/>
          <p:nvPr/>
        </p:nvSpPr>
        <p:spPr>
          <a:xfrm>
            <a:off x="802249" y="4539956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Oval 15"/>
          <p:cNvSpPr/>
          <p:nvPr/>
        </p:nvSpPr>
        <p:spPr>
          <a:xfrm>
            <a:off x="802249" y="2619432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Oval 16"/>
          <p:cNvSpPr/>
          <p:nvPr/>
        </p:nvSpPr>
        <p:spPr>
          <a:xfrm>
            <a:off x="802249" y="1658977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1003376" y="1693910"/>
            <a:ext cx="4483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Century Gothic" panose="020B0502020202020204" pitchFamily="34" charset="0"/>
              </a:rPr>
              <a:t>Jira</a:t>
            </a: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11835" y="2653281"/>
            <a:ext cx="59376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Система управления базами данных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011835" y="3612652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Century Gothic" panose="020B0502020202020204" pitchFamily="34" charset="0"/>
              </a:rPr>
              <a:t>Notepad</a:t>
            </a: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11835" y="4572023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Century Gothic" panose="020B0502020202020204" pitchFamily="34" charset="0"/>
              </a:rPr>
              <a:t>XML, SQL formatter</a:t>
            </a:r>
            <a:endParaRPr lang="ru-RU" sz="20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4295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/>
      <p:bldP spid="19" grpId="0"/>
      <p:bldP spid="20" grpId="0"/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5521E86-09D5-4946-96C4-F588BCCA310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8BB42C-4E7E-45F1-AB31-00086D65A63E}"/>
              </a:ext>
            </a:extLst>
          </p:cNvPr>
          <p:cNvSpPr txBox="1"/>
          <p:nvPr/>
        </p:nvSpPr>
        <p:spPr>
          <a:xfrm>
            <a:off x="749368" y="443928"/>
            <a:ext cx="6074943" cy="391042"/>
          </a:xfrm>
          <a:prstGeom prst="rect">
            <a:avLst/>
          </a:prstGeom>
          <a:solidFill>
            <a:srgbClr val="FFEB00"/>
          </a:solidFill>
        </p:spPr>
        <p:txBody>
          <a:bodyPr wrap="square" rtlCol="0">
            <a:spAutoFit/>
          </a:bodyPr>
          <a:lstStyle/>
          <a:p>
            <a:endParaRPr lang="en-US" sz="2600" b="1" dirty="0">
              <a:latin typeface="FuturaDemiC" panose="04000700000000000000" pitchFamily="82" charset="-52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49369" y="478121"/>
            <a:ext cx="8386164" cy="762188"/>
          </a:xfrm>
        </p:spPr>
        <p:txBody>
          <a:bodyPr>
            <a:norm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Виды активностей </a:t>
            </a:r>
            <a:r>
              <a:rPr lang="ru-RU" sz="2400" b="1" dirty="0" err="1">
                <a:latin typeface="Century Gothic" panose="020B0502020202020204" pitchFamily="34" charset="0"/>
              </a:rPr>
              <a:t>тестировщика</a:t>
            </a:r>
            <a:endParaRPr lang="ru-RU" sz="2400" b="1" dirty="0">
              <a:latin typeface="Century Gothic" panose="020B0502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802249" y="2987354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Oval 20"/>
          <p:cNvSpPr/>
          <p:nvPr/>
        </p:nvSpPr>
        <p:spPr>
          <a:xfrm>
            <a:off x="802249" y="3952812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Oval 21"/>
          <p:cNvSpPr/>
          <p:nvPr/>
        </p:nvSpPr>
        <p:spPr>
          <a:xfrm>
            <a:off x="802249" y="4909318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Oval 23"/>
          <p:cNvSpPr/>
          <p:nvPr/>
        </p:nvSpPr>
        <p:spPr>
          <a:xfrm>
            <a:off x="802249" y="2032288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Oval 24"/>
          <p:cNvSpPr/>
          <p:nvPr/>
        </p:nvSpPr>
        <p:spPr>
          <a:xfrm>
            <a:off x="802249" y="1071833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003376" y="1106766"/>
            <a:ext cx="61000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Общение с командой и пользователям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11835" y="3025508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Приоритезация</a:t>
            </a:r>
            <a:r>
              <a:rPr lang="ru-RU" sz="2000" dirty="0">
                <a:latin typeface="Century Gothic" panose="020B0502020202020204" pitchFamily="34" charset="0"/>
              </a:rPr>
              <a:t> текущих задач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11835" y="398487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 дизайн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03376" y="4944251"/>
            <a:ext cx="4762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Исправление после </a:t>
            </a:r>
            <a:r>
              <a:rPr lang="ru-RU" sz="2000" dirty="0" err="1">
                <a:latin typeface="Century Gothic" panose="020B0502020202020204" pitchFamily="34" charset="0"/>
              </a:rPr>
              <a:t>ревью</a:t>
            </a: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11835" y="2074373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Ревью</a:t>
            </a:r>
            <a:r>
              <a:rPr lang="ru-RU" sz="2000" dirty="0">
                <a:latin typeface="Century Gothic" panose="020B0502020202020204" pitchFamily="34" charset="0"/>
              </a:rPr>
              <a:t> требований</a:t>
            </a:r>
          </a:p>
        </p:txBody>
      </p:sp>
      <p:sp>
        <p:nvSpPr>
          <p:cNvPr id="32" name="Oval 31"/>
          <p:cNvSpPr/>
          <p:nvPr/>
        </p:nvSpPr>
        <p:spPr>
          <a:xfrm>
            <a:off x="6545650" y="2027982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Oval 32"/>
          <p:cNvSpPr/>
          <p:nvPr/>
        </p:nvSpPr>
        <p:spPr>
          <a:xfrm>
            <a:off x="6545650" y="2993440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Oval 33"/>
          <p:cNvSpPr/>
          <p:nvPr/>
        </p:nvSpPr>
        <p:spPr>
          <a:xfrm>
            <a:off x="6545650" y="3949946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Oval 34"/>
          <p:cNvSpPr/>
          <p:nvPr/>
        </p:nvSpPr>
        <p:spPr>
          <a:xfrm>
            <a:off x="6545650" y="1072916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6752235" y="1106765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Заведение дефектов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752235" y="2066136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Регрессионное тестирование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752235" y="3025507"/>
            <a:ext cx="46825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Интеграционное тестирование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752235" y="3984879"/>
            <a:ext cx="4152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Оценка задач</a:t>
            </a:r>
          </a:p>
        </p:txBody>
      </p:sp>
      <p:sp>
        <p:nvSpPr>
          <p:cNvPr id="44" name="Oval 43"/>
          <p:cNvSpPr/>
          <p:nvPr/>
        </p:nvSpPr>
        <p:spPr>
          <a:xfrm>
            <a:off x="802249" y="5906666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/>
          <p:cNvSpPr txBox="1"/>
          <p:nvPr/>
        </p:nvSpPr>
        <p:spPr>
          <a:xfrm>
            <a:off x="1003376" y="5941599"/>
            <a:ext cx="4762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Тестирование задач</a:t>
            </a:r>
          </a:p>
        </p:txBody>
      </p:sp>
      <p:sp>
        <p:nvSpPr>
          <p:cNvPr id="46" name="Oval 45"/>
          <p:cNvSpPr/>
          <p:nvPr/>
        </p:nvSpPr>
        <p:spPr>
          <a:xfrm>
            <a:off x="6551108" y="4909318"/>
            <a:ext cx="469976" cy="469976"/>
          </a:xfrm>
          <a:prstGeom prst="ellipse">
            <a:avLst/>
          </a:prstGeom>
          <a:solidFill>
            <a:srgbClr val="FAE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/>
          <p:cNvSpPr txBox="1"/>
          <p:nvPr/>
        </p:nvSpPr>
        <p:spPr>
          <a:xfrm>
            <a:off x="6752235" y="4944251"/>
            <a:ext cx="4762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>
                <a:latin typeface="Century Gothic" panose="020B0502020202020204" pitchFamily="34" charset="0"/>
              </a:rPr>
              <a:t>Ежеспринтовые</a:t>
            </a:r>
            <a:r>
              <a:rPr lang="ru-RU" sz="2000" dirty="0">
                <a:latin typeface="Century Gothic" panose="020B0502020202020204" pitchFamily="34" charset="0"/>
              </a:rPr>
              <a:t> встречи</a:t>
            </a:r>
          </a:p>
        </p:txBody>
      </p:sp>
    </p:spTree>
    <p:extLst>
      <p:ext uri="{BB962C8B-B14F-4D97-AF65-F5344CB8AC3E}">
        <p14:creationId xmlns:p14="http://schemas.microsoft.com/office/powerpoint/2010/main" val="3351608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1" grpId="0" animBg="1"/>
      <p:bldP spid="22" grpId="0" animBg="1"/>
      <p:bldP spid="24" grpId="0" animBg="1"/>
      <p:bldP spid="25" grpId="0" animBg="1"/>
      <p:bldP spid="26" grpId="0"/>
      <p:bldP spid="28" grpId="0"/>
      <p:bldP spid="29" grpId="0"/>
      <p:bldP spid="30" grpId="0"/>
      <p:bldP spid="31" grpId="0"/>
      <p:bldP spid="32" grpId="0" animBg="1"/>
      <p:bldP spid="33" grpId="0" animBg="1"/>
      <p:bldP spid="34" grpId="0" animBg="1"/>
      <p:bldP spid="35" grpId="0" animBg="1"/>
      <p:bldP spid="37" grpId="0"/>
      <p:bldP spid="38" grpId="0"/>
      <p:bldP spid="39" grpId="0"/>
      <p:bldP spid="40" grpId="0"/>
      <p:bldP spid="44" grpId="0" animBg="1"/>
      <p:bldP spid="45" grpId="0"/>
      <p:bldP spid="46" grpId="0" animBg="1"/>
      <p:bldP spid="4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394171A-5786-43B3-A046-F9283A2591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881" y="1144588"/>
            <a:ext cx="5322357" cy="1107996"/>
          </a:xfrm>
        </p:spPr>
        <p:txBody>
          <a:bodyPr/>
          <a:lstStyle/>
          <a:p>
            <a:r>
              <a:rPr lang="ru-RU" dirty="0">
                <a:latin typeface="Century Gothic" panose="020B0502020202020204" pitchFamily="34" charset="0"/>
              </a:rPr>
              <a:t>Ждем вас на следующих лекциях!</a:t>
            </a:r>
          </a:p>
        </p:txBody>
      </p:sp>
    </p:spTree>
    <p:extLst>
      <p:ext uri="{BB962C8B-B14F-4D97-AF65-F5344CB8AC3E}">
        <p14:creationId xmlns:p14="http://schemas.microsoft.com/office/powerpoint/2010/main" val="2251271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4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ED&quot; g=&quot;EE&quot; b=&quot;EF&quot;/&gt;&lt;m_nBrightness endver=&quot;26206&quot; val=&quot;0&quot;/&gt;&lt;/elem&gt;&lt;elem m_fUsage=&quot;9.00000000000000022204E-01&quot;&gt;&lt;m_msothmcolidx val=&quot;0&quot;/&gt;&lt;m_rgb r=&quot;FF&quot; g=&quot;EB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Lv4m8.hsU6A7UAFA4p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gwPL44KUUMuRZk0eh1ng"/>
</p:tagLst>
</file>

<file path=ppt/theme/theme1.xml><?xml version="1.0" encoding="utf-8"?>
<a:theme xmlns:a="http://schemas.openxmlformats.org/drawingml/2006/main" name="Тема Office">
  <a:themeElements>
    <a:clrScheme name="Custom 9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181C2B"/>
      </a:accent1>
      <a:accent2>
        <a:srgbClr val="FAEB00"/>
      </a:accent2>
      <a:accent3>
        <a:srgbClr val="818080"/>
      </a:accent3>
      <a:accent4>
        <a:srgbClr val="FA4137"/>
      </a:accent4>
      <a:accent5>
        <a:srgbClr val="5F7DFA"/>
      </a:accent5>
      <a:accent6>
        <a:srgbClr val="6EAF46"/>
      </a:accent6>
      <a:hlink>
        <a:srgbClr val="00AAFF"/>
      </a:hlink>
      <a:folHlink>
        <a:srgbClr val="99DD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631</TotalTime>
  <Words>182</Words>
  <Application>Microsoft Macintosh PowerPoint</Application>
  <PresentationFormat>Широкоэкранный</PresentationFormat>
  <Paragraphs>66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4" baseType="lpstr">
      <vt:lpstr>Arial</vt:lpstr>
      <vt:lpstr>Calibri</vt:lpstr>
      <vt:lpstr>Century Gothic</vt:lpstr>
      <vt:lpstr>FuturaDemiC</vt:lpstr>
      <vt:lpstr>Тема Office</vt:lpstr>
      <vt:lpstr>think-cell Slide</vt:lpstr>
      <vt:lpstr>Введение в теорию тестирования</vt:lpstr>
      <vt:lpstr>Зачем нужно тестирование?</vt:lpstr>
      <vt:lpstr>Виды тестирования</vt:lpstr>
      <vt:lpstr>Виды тестирования</vt:lpstr>
      <vt:lpstr>Виды тестирования</vt:lpstr>
      <vt:lpstr>Инструменты тестирования</vt:lpstr>
      <vt:lpstr>Виды активностей тестировщика</vt:lpstr>
      <vt:lpstr>Ждем вас на следующих лекциях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Microsoft Office User</cp:lastModifiedBy>
  <cp:revision>1025</cp:revision>
  <cp:lastPrinted>2017-11-29T18:25:18Z</cp:lastPrinted>
  <dcterms:created xsi:type="dcterms:W3CDTF">2017-11-14T14:42:55Z</dcterms:created>
  <dcterms:modified xsi:type="dcterms:W3CDTF">2020-09-15T10:21:29Z</dcterms:modified>
</cp:coreProperties>
</file>